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77" r:id="rId2"/>
    <p:sldId id="295" r:id="rId3"/>
    <p:sldId id="307" r:id="rId4"/>
    <p:sldId id="308" r:id="rId5"/>
    <p:sldId id="258" r:id="rId6"/>
    <p:sldId id="303" r:id="rId7"/>
    <p:sldId id="280" r:id="rId8"/>
    <p:sldId id="302" r:id="rId9"/>
    <p:sldId id="309" r:id="rId10"/>
    <p:sldId id="310" r:id="rId11"/>
    <p:sldId id="294" r:id="rId12"/>
    <p:sldId id="296" r:id="rId13"/>
    <p:sldId id="306" r:id="rId14"/>
    <p:sldId id="287" r:id="rId15"/>
  </p:sldIdLst>
  <p:sldSz cx="9144000" cy="5143500" type="screen16x9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B3"/>
    <a:srgbClr val="BC151C"/>
    <a:srgbClr val="EF4044"/>
    <a:srgbClr val="F2CD13"/>
    <a:srgbClr val="B1063A"/>
    <a:srgbClr val="CE1141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355" autoAdjust="0"/>
    <p:restoredTop sz="94633" autoAdjust="0"/>
  </p:normalViewPr>
  <p:slideViewPr>
    <p:cSldViewPr>
      <p:cViewPr varScale="1">
        <p:scale>
          <a:sx n="106" d="100"/>
          <a:sy n="106" d="100"/>
        </p:scale>
        <p:origin x="624" y="6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6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59B960-5E66-4113-B8CC-17A0D5C37366}" type="datetimeFigureOut">
              <a:rPr lang="sv-SE" smtClean="0"/>
              <a:t>2023-12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F3291F-9DCB-46ED-BF32-F247FD2AAAA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7735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80730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26157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19196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7112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58326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 smtClean="0"/>
              <a:t>Klicka här för att lägg till en </a:t>
            </a:r>
            <a:r>
              <a:rPr lang="sv-SE" dirty="0" err="1" smtClean="0"/>
              <a:t>helsidebild</a:t>
            </a:r>
            <a:endParaRPr lang="sv-SE" dirty="0" smtClean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18885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1280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06504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2574"/>
            <a:ext cx="9144000" cy="51435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4078370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707655"/>
            <a:ext cx="8229600" cy="280831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063731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58002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67544" y="771550"/>
            <a:ext cx="4032448" cy="85725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smtClean="0"/>
              <a:t>Klicka här för att ändra rubri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411511"/>
            <a:ext cx="4038600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21677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7F19F6FA-C315-406B-A333-7795FFDFF6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525" cy="9525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3CC2EB-9A0C-4B5D-82FB-32351F22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3CC2EB-9A0C-4B5D-82FB-32351F22A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A2FBE6-CCDF-4281-881A-D421423FBB5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7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462631"/>
            <a:ext cx="6858000" cy="457345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60" y="1066800"/>
            <a:ext cx="6858000" cy="313967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74525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67544" y="77155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707655"/>
            <a:ext cx="8229600" cy="28083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 smtClean="0"/>
              <a:t>Klicka här för att ändra text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 smtClean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4701841"/>
            <a:ext cx="1032452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4629825"/>
            <a:ext cx="776843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764" y="4701841"/>
            <a:ext cx="11357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/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-180975" y="9620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000" b="0" i="0" u="none" strike="noStrike" cap="none" normalizeH="0" baseline="0" smtClean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-180975" y="15049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000" b="0" i="0" u="none" strike="noStrike" cap="none" normalizeH="0" baseline="0" smtClean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436921" y="4773801"/>
            <a:ext cx="175881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000" dirty="0" smtClean="0">
                <a:solidFill>
                  <a:schemeClr val="tx1"/>
                </a:solidFill>
                <a:latin typeface="+mj-lt"/>
              </a:rPr>
              <a:t>Sydöstra sjukvårdsregionen</a:t>
            </a:r>
            <a:endParaRPr lang="sv-SE" sz="11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5508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5" r:id="rId5"/>
    <p:sldLayoutId id="2147483650" r:id="rId6"/>
    <p:sldLayoutId id="2147483652" r:id="rId7"/>
    <p:sldLayoutId id="2147483659" r:id="rId8"/>
    <p:sldLayoutId id="2147483660" r:id="rId9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sydostrasjukvardsregionen.se/regionsjukvardsledningen/motesanteckningar-2020/" TargetMode="Externa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611560" y="1491630"/>
            <a:ext cx="7772400" cy="1102519"/>
          </a:xfrm>
        </p:spPr>
        <p:txBody>
          <a:bodyPr>
            <a:normAutofit fontScale="90000"/>
          </a:bodyPr>
          <a:lstStyle/>
          <a:p>
            <a:pPr algn="ctr"/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Regionsjukvårdsledningen </a:t>
            </a:r>
            <a:br>
              <a:rPr lang="sv-SE" dirty="0" smtClean="0"/>
            </a:br>
            <a:r>
              <a:rPr lang="sv-SE" dirty="0" smtClean="0"/>
              <a:t>26 oktober 2023 </a:t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sz="2700" dirty="0" smtClean="0"/>
              <a:t>Sammanfattande information</a:t>
            </a:r>
            <a:endParaRPr lang="sv-SE" sz="2700" dirty="0"/>
          </a:p>
        </p:txBody>
      </p:sp>
    </p:spTree>
    <p:extLst>
      <p:ext uri="{BB962C8B-B14F-4D97-AF65-F5344CB8AC3E}">
        <p14:creationId xmlns:p14="http://schemas.microsoft.com/office/powerpoint/2010/main" val="220812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3200" dirty="0" smtClean="0"/>
              <a:t>Nationell högspecialiserad vård</a:t>
            </a:r>
            <a:endParaRPr lang="sv-SE" sz="3200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000" dirty="0"/>
              <a:t>Ansökningar  om nationell högspecialiserad vård ska föregås av tydligare förankring och gemensamma konsekvensanalyser i samarbete med berörda regionala programområden och Linköpings universitet</a:t>
            </a:r>
            <a:r>
              <a:rPr lang="sv-SE" sz="2000" dirty="0" smtClean="0"/>
              <a:t>.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3545596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Aktuellt i kunskapsråden </a:t>
            </a:r>
            <a:endParaRPr lang="sv-SE" sz="36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000" dirty="0" smtClean="0"/>
              <a:t>Nya ordförande och processtöd i samtliga kunskapsråd på gång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000" dirty="0" smtClean="0"/>
              <a:t>Kunskapsråden vill ha tillgång till statistik från tillgänglighetsgruppen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000" dirty="0" smtClean="0"/>
              <a:t>Nytt uppdrag till RPO att </a:t>
            </a:r>
            <a:r>
              <a:rPr lang="sv-SE" sz="2000" dirty="0"/>
              <a:t>genomlysa hur effektivt man jobbar med kunskapsstöden kopplat till </a:t>
            </a:r>
            <a:r>
              <a:rPr lang="sv-SE" sz="2000" dirty="0" smtClean="0"/>
              <a:t>patientlöftena </a:t>
            </a:r>
            <a:r>
              <a:rPr lang="sv-SE" sz="2000" dirty="0"/>
              <a:t>och kloka kliniska </a:t>
            </a:r>
            <a:r>
              <a:rPr lang="sv-SE" sz="2000" dirty="0" smtClean="0"/>
              <a:t>val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4243503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Föredrag vid RSL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 smtClean="0"/>
              <a:t>Lars Sandman, Prioriteringscentrum i Linköping, om kloka </a:t>
            </a:r>
            <a:r>
              <a:rPr lang="sv-SE" sz="2000" dirty="0"/>
              <a:t>kliniska val i ekonomiskt svåra </a:t>
            </a:r>
            <a:r>
              <a:rPr lang="sv-SE" sz="2000" dirty="0" smtClean="0"/>
              <a:t>ti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 smtClean="0"/>
              <a:t>Lena </a:t>
            </a:r>
            <a:r>
              <a:rPr lang="sv-SE" sz="2000" dirty="0"/>
              <a:t>Jonasson, </a:t>
            </a:r>
            <a:r>
              <a:rPr lang="sv-SE" sz="2000" dirty="0" smtClean="0"/>
              <a:t>Dekan vid Linköpings universitet, om </a:t>
            </a:r>
            <a:r>
              <a:rPr lang="sv-SE" sz="2000" dirty="0"/>
              <a:t>den regionaliserade läkarutbildningen och det nya 6-åriga </a:t>
            </a:r>
            <a:r>
              <a:rPr lang="sv-SE" sz="2000" dirty="0" smtClean="0"/>
              <a:t>läkarprogrammet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25516106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Ärenden på SVN 29 september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180000" indent="-180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6400" dirty="0" smtClean="0"/>
              <a:t>Svenskt </a:t>
            </a:r>
            <a:r>
              <a:rPr lang="sv-SE" sz="6400" dirty="0"/>
              <a:t>ambulansflyg: Antal flygtimmar är bra, </a:t>
            </a:r>
            <a:r>
              <a:rPr lang="sv-SE" sz="6400" dirty="0" smtClean="0"/>
              <a:t>ny ekonomisk fördelningsmodell på gång, eventuellt </a:t>
            </a:r>
            <a:r>
              <a:rPr lang="sv-SE" sz="6400" dirty="0"/>
              <a:t>breddat </a:t>
            </a:r>
            <a:r>
              <a:rPr lang="sv-SE" sz="6400" dirty="0" smtClean="0"/>
              <a:t>uppdrag.</a:t>
            </a:r>
            <a:endParaRPr lang="sv-SE" sz="6400" dirty="0"/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6400" dirty="0"/>
              <a:t>SOS alarm: Flera regioner har eller planerar </a:t>
            </a:r>
            <a:r>
              <a:rPr lang="sv-SE" sz="6400" dirty="0" smtClean="0"/>
              <a:t>egna </a:t>
            </a:r>
            <a:r>
              <a:rPr lang="sv-SE" sz="6400" dirty="0"/>
              <a:t>larmcentraler. Finansdepartementet överväger att flytta alarmeringstjänst till en </a:t>
            </a:r>
            <a:r>
              <a:rPr lang="sv-SE" sz="6400" dirty="0" smtClean="0"/>
              <a:t>myndighet.</a:t>
            </a:r>
            <a:endParaRPr lang="sv-SE" sz="6400" dirty="0"/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6400" dirty="0" smtClean="0"/>
              <a:t>Uppföljning av läkemedelsstrategin</a:t>
            </a:r>
            <a:r>
              <a:rPr lang="sv-SE" sz="6400" dirty="0"/>
              <a:t>: Arbete för att jämföra medicinkostnader mellan olika enheter. Kostnad största utmaningen, biologiska läkemedel mycket stor del</a:t>
            </a:r>
            <a:r>
              <a:rPr lang="sv-SE" sz="6400" dirty="0" smtClean="0"/>
              <a:t>.</a:t>
            </a:r>
            <a:endParaRPr lang="sv-SE" sz="6400" dirty="0"/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6400" dirty="0" smtClean="0"/>
              <a:t>Internkontrollplan: </a:t>
            </a:r>
            <a:r>
              <a:rPr lang="sv-SE" sz="6400" dirty="0"/>
              <a:t>Behålla nuvarande form och upplägg </a:t>
            </a:r>
            <a:r>
              <a:rPr lang="sv-SE" sz="6400" dirty="0" smtClean="0"/>
              <a:t>2024</a:t>
            </a:r>
            <a:r>
              <a:rPr lang="sv-SE" sz="6400" dirty="0"/>
              <a:t>. 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6400" dirty="0" smtClean="0"/>
              <a:t>Samarbetsområdet </a:t>
            </a:r>
            <a:r>
              <a:rPr lang="sv-SE" sz="6400" dirty="0"/>
              <a:t>Långsiktig och hållbar </a:t>
            </a:r>
            <a:r>
              <a:rPr lang="sv-SE" sz="6400" dirty="0" smtClean="0"/>
              <a:t>arbetsfördelning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6400" dirty="0" smtClean="0"/>
              <a:t>Återrapportering </a:t>
            </a:r>
            <a:r>
              <a:rPr lang="sv-SE" sz="6400" dirty="0"/>
              <a:t>om den uppskjutna </a:t>
            </a:r>
            <a:r>
              <a:rPr lang="sv-SE" sz="6400" dirty="0" smtClean="0"/>
              <a:t>vården</a:t>
            </a:r>
            <a:endParaRPr lang="sv-SE" sz="6400" dirty="0"/>
          </a:p>
        </p:txBody>
      </p:sp>
    </p:spTree>
    <p:extLst>
      <p:ext uri="{BB962C8B-B14F-4D97-AF65-F5344CB8AC3E}">
        <p14:creationId xmlns:p14="http://schemas.microsoft.com/office/powerpoint/2010/main" val="3494392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Mötesanteckningar och bilagor</a:t>
            </a:r>
            <a:endParaRPr lang="sv-SE" sz="36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2067694"/>
            <a:ext cx="8229600" cy="2448272"/>
          </a:xfrm>
        </p:spPr>
        <p:txBody>
          <a:bodyPr>
            <a:normAutofit/>
          </a:bodyPr>
          <a:lstStyle/>
          <a:p>
            <a:r>
              <a:rPr lang="sv-SE" sz="1800" dirty="0" smtClean="0">
                <a:hlinkClick r:id="rId2"/>
              </a:rPr>
              <a:t>Mötesanteckningar och bilagor från RSL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4190577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Aktuellt från arbetsutskottet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Överenskommelse 2024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Data </a:t>
            </a:r>
            <a:r>
              <a:rPr lang="sv-SE" sz="2000" dirty="0" smtClean="0"/>
              <a:t>och analys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Nominering </a:t>
            </a:r>
            <a:r>
              <a:rPr lang="sv-SE" sz="2000" dirty="0" smtClean="0"/>
              <a:t>till MTP-råd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Resurs till SKR stödfunktion </a:t>
            </a:r>
            <a:r>
              <a:rPr lang="sv-SE" sz="2000" dirty="0" smtClean="0"/>
              <a:t>(kompetens kring processer </a:t>
            </a:r>
            <a:r>
              <a:rPr lang="sv-SE" sz="2000" dirty="0"/>
              <a:t>och </a:t>
            </a:r>
            <a:r>
              <a:rPr lang="sv-SE" sz="2000" dirty="0" smtClean="0"/>
              <a:t>flöden)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Arbets- och miljömedic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Strategi </a:t>
            </a:r>
            <a:r>
              <a:rPr lang="sv-SE" sz="2000" dirty="0" smtClean="0"/>
              <a:t>US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1728950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Nya nationella ledamöter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Nationellt primärvårdsråd</a:t>
            </a:r>
            <a:r>
              <a:rPr lang="sv-SE" sz="2000" dirty="0"/>
              <a:t>  </a:t>
            </a:r>
            <a:br>
              <a:rPr lang="sv-SE" sz="2000" dirty="0"/>
            </a:br>
            <a:r>
              <a:rPr lang="sv-SE" sz="2000" dirty="0"/>
              <a:t>Marita </a:t>
            </a:r>
            <a:r>
              <a:rPr lang="sv-SE" sz="2000" dirty="0" err="1"/>
              <a:t>Ahlby</a:t>
            </a:r>
            <a:r>
              <a:rPr lang="sv-SE" sz="2000" dirty="0"/>
              <a:t>, handläggare Regionstaben, RK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 smtClean="0"/>
              <a:t>NPO </a:t>
            </a:r>
            <a:r>
              <a:rPr lang="sv-SE" sz="2000" b="1" dirty="0"/>
              <a:t>ö</a:t>
            </a:r>
            <a:r>
              <a:rPr lang="sv-SE" sz="2000" b="1" dirty="0" smtClean="0"/>
              <a:t>ron-, näs- </a:t>
            </a:r>
            <a:r>
              <a:rPr lang="sv-SE" sz="2000" b="1" dirty="0"/>
              <a:t>och </a:t>
            </a:r>
            <a:r>
              <a:rPr lang="sv-SE" sz="2000" b="1" dirty="0" smtClean="0"/>
              <a:t>halssjukdomar </a:t>
            </a:r>
            <a:r>
              <a:rPr lang="sv-SE" sz="2000" dirty="0"/>
              <a:t/>
            </a:r>
            <a:br>
              <a:rPr lang="sv-SE" sz="2000" dirty="0"/>
            </a:br>
            <a:r>
              <a:rPr lang="sv-SE" sz="2000" dirty="0"/>
              <a:t>Henrik Smeds, </a:t>
            </a:r>
            <a:r>
              <a:rPr lang="sv-SE" sz="2000" dirty="0" smtClean="0"/>
              <a:t>verksamhetschef ÖNH-kliniken, RÖ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2235997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A89953C-BE6E-4F5B-B9D1-CCE2AA4C2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2400" dirty="0" smtClean="0">
                <a:latin typeface="+mj-lt"/>
              </a:rPr>
              <a:t>Remisser </a:t>
            </a:r>
            <a:r>
              <a:rPr lang="sv-SE" sz="2400" dirty="0">
                <a:latin typeface="+mj-lt"/>
              </a:rPr>
              <a:t>15 </a:t>
            </a:r>
            <a:r>
              <a:rPr lang="sv-SE" sz="2400" dirty="0" smtClean="0">
                <a:latin typeface="+mj-lt"/>
              </a:rPr>
              <a:t>november–14 </a:t>
            </a:r>
            <a:r>
              <a:rPr lang="sv-SE" sz="2400" dirty="0">
                <a:latin typeface="+mj-lt"/>
              </a:rPr>
              <a:t>februari </a:t>
            </a:r>
            <a:r>
              <a:rPr lang="sv-SE" sz="2400" dirty="0" smtClean="0">
                <a:latin typeface="+mj-lt"/>
              </a:rPr>
              <a:t>2024 </a:t>
            </a:r>
            <a:r>
              <a:rPr lang="sv-SE" sz="2400" dirty="0">
                <a:latin typeface="+mj-lt"/>
              </a:rPr>
              <a:t>(</a:t>
            </a:r>
            <a:r>
              <a:rPr lang="sv-SE" sz="2400" dirty="0" smtClean="0">
                <a:latin typeface="+mj-lt"/>
              </a:rPr>
              <a:t>preliminärt)</a:t>
            </a:r>
            <a:endParaRPr lang="sv-SE" sz="2400" b="0" dirty="0">
              <a:latin typeface="+mj-lt"/>
              <a:cs typeface="Calibri"/>
            </a:endParaRPr>
          </a:p>
        </p:txBody>
      </p:sp>
      <p:sp>
        <p:nvSpPr>
          <p:cNvPr id="5" name="Platshållare för innehåll 4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sv-SE" sz="1600" b="1" dirty="0">
                <a:solidFill>
                  <a:srgbClr val="000000"/>
                </a:solidFill>
                <a:ea typeface="Times New Roman" panose="02020603050405020304" pitchFamily="18" charset="0"/>
              </a:rPr>
              <a:t>Vårdförlopp</a:t>
            </a:r>
            <a:endParaRPr lang="sv-SE" sz="1600" b="1" dirty="0">
              <a:solidFill>
                <a:srgbClr val="000000"/>
              </a:solidFill>
              <a:ea typeface="Times New Roman" panose="02020603050405020304" pitchFamily="18" charset="0"/>
              <a:cs typeface="Calibri"/>
            </a:endParaRPr>
          </a:p>
          <a:p>
            <a:pPr marL="214313" indent="-214313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Hjärtsvikt (</a:t>
            </a:r>
            <a:r>
              <a:rPr lang="sv-SE" sz="1600" dirty="0" smtClean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kompletterad)</a:t>
            </a:r>
            <a:endParaRPr lang="sv-SE" sz="1600" dirty="0">
              <a:solidFill>
                <a:srgbClr val="000000"/>
              </a:solidFill>
              <a:ea typeface="Calibri" panose="020F0502020204030204" pitchFamily="34" charset="0"/>
              <a:cs typeface="Calibri"/>
            </a:endParaRPr>
          </a:p>
          <a:p>
            <a:pPr marL="214313" indent="-214313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600" dirty="0" smtClean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Lungfibros</a:t>
            </a:r>
            <a:endParaRPr lang="sv-SE" sz="1600" dirty="0">
              <a:solidFill>
                <a:srgbClr val="000000"/>
              </a:solidFill>
              <a:ea typeface="Calibri" panose="020F0502020204030204" pitchFamily="34" charset="0"/>
              <a:cs typeface="Calibri"/>
            </a:endParaRPr>
          </a:p>
          <a:p>
            <a:pPr lvl="0"/>
            <a:r>
              <a:rPr lang="sv-SE" sz="1600" b="1" dirty="0">
                <a:solidFill>
                  <a:srgbClr val="000000"/>
                </a:solidFill>
              </a:rPr>
              <a:t>Kliniska kunskapsstöd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Digitala </a:t>
            </a:r>
            <a:r>
              <a:rPr lang="sv-SE" sz="1600" dirty="0" err="1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vårdmöten</a:t>
            </a: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 barn och unga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Diabetesvård till personer 15-25 år</a:t>
            </a:r>
          </a:p>
          <a:p>
            <a:pPr lvl="0"/>
            <a:r>
              <a:rPr lang="sv-SE" sz="1600" b="1" dirty="0">
                <a:solidFill>
                  <a:srgbClr val="000000"/>
                </a:solidFill>
              </a:rPr>
              <a:t>Rapport/vägledning</a:t>
            </a: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cs typeface="Calibri"/>
              </a:rPr>
              <a:t>Den akut sjuke patienten (larm till sjukhus</a:t>
            </a:r>
            <a:r>
              <a:rPr lang="sv-SE" sz="1600" dirty="0" smtClean="0">
                <a:solidFill>
                  <a:srgbClr val="000000"/>
                </a:solidFill>
                <a:cs typeface="Calibri"/>
              </a:rPr>
              <a:t>)</a:t>
            </a:r>
            <a:endParaRPr lang="sv-SE" sz="1600" dirty="0">
              <a:solidFill>
                <a:srgbClr val="000000"/>
              </a:solidFill>
              <a:cs typeface="Calibri"/>
            </a:endParaRPr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/>
        <p:txBody>
          <a:bodyPr>
            <a:noAutofit/>
          </a:bodyPr>
          <a:lstStyle/>
          <a:p>
            <a:pPr defTabSz="685800">
              <a:spcBef>
                <a:spcPts val="0"/>
              </a:spcBef>
              <a:defRPr/>
            </a:pPr>
            <a:r>
              <a:rPr lang="sv-SE" sz="1600" b="1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Vårdprogram</a:t>
            </a:r>
            <a:endParaRPr lang="sv-SE" sz="1600" b="1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14313" indent="-214313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sv-SE" sz="1600" dirty="0">
                <a:solidFill>
                  <a:srgbClr val="000000"/>
                </a:solidFill>
                <a:latin typeface="+mj-lt"/>
                <a:cs typeface="Calibri"/>
              </a:rPr>
              <a:t>Akut </a:t>
            </a:r>
            <a:r>
              <a:rPr lang="sv-SE" sz="1600" dirty="0" err="1">
                <a:solidFill>
                  <a:srgbClr val="000000"/>
                </a:solidFill>
                <a:latin typeface="+mj-lt"/>
                <a:cs typeface="Calibri"/>
              </a:rPr>
              <a:t>myeloisk</a:t>
            </a:r>
            <a:r>
              <a:rPr lang="sv-SE" sz="1600" dirty="0">
                <a:solidFill>
                  <a:srgbClr val="000000"/>
                </a:solidFill>
                <a:latin typeface="+mj-lt"/>
                <a:cs typeface="Calibri"/>
              </a:rPr>
              <a:t> leukemi </a:t>
            </a:r>
            <a:r>
              <a:rPr lang="sv-SE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/>
              </a:rPr>
              <a:t>(rev)</a:t>
            </a:r>
            <a:endParaRPr lang="sv-SE" sz="1600" dirty="0">
              <a:solidFill>
                <a:srgbClr val="000000"/>
              </a:solidFill>
              <a:latin typeface="+mj-lt"/>
              <a:cs typeface="Calibri"/>
            </a:endParaRPr>
          </a:p>
          <a:p>
            <a:pPr marL="214313" indent="-214313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sv-SE" sz="1600" dirty="0">
                <a:solidFill>
                  <a:srgbClr val="000000"/>
                </a:solidFill>
                <a:latin typeface="+mj-lt"/>
                <a:cs typeface="Calibri"/>
              </a:rPr>
              <a:t>Bukspottkörtelcancer </a:t>
            </a:r>
            <a:r>
              <a:rPr lang="sv-SE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/>
              </a:rPr>
              <a:t>(rev)</a:t>
            </a:r>
            <a:endParaRPr lang="sv-SE" sz="1600" dirty="0">
              <a:solidFill>
                <a:srgbClr val="000000"/>
              </a:solidFill>
              <a:latin typeface="+mj-lt"/>
              <a:cs typeface="Calibri"/>
            </a:endParaRPr>
          </a:p>
          <a:p>
            <a:pPr marL="214313" indent="-214313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sv-SE" sz="1600" dirty="0">
                <a:solidFill>
                  <a:srgbClr val="000000"/>
                </a:solidFill>
                <a:latin typeface="+mj-lt"/>
                <a:cs typeface="Calibri"/>
              </a:rPr>
              <a:t>Hypofystumörer </a:t>
            </a:r>
            <a:r>
              <a:rPr lang="sv-SE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/>
              </a:rPr>
              <a:t>(rev)</a:t>
            </a:r>
            <a:endParaRPr lang="sv-SE" sz="1600" dirty="0">
              <a:solidFill>
                <a:srgbClr val="000000"/>
              </a:solidFill>
              <a:latin typeface="+mj-lt"/>
              <a:cs typeface="Calibri"/>
            </a:endParaRPr>
          </a:p>
          <a:p>
            <a:pPr marL="214313" indent="-214313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sv-SE" sz="1600" dirty="0">
                <a:solidFill>
                  <a:srgbClr val="000000"/>
                </a:solidFill>
                <a:latin typeface="+mj-lt"/>
                <a:cs typeface="Calibri"/>
              </a:rPr>
              <a:t>Neuroendokrina buktumörer </a:t>
            </a:r>
            <a:r>
              <a:rPr lang="sv-SE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/>
              </a:rPr>
              <a:t>(rev)</a:t>
            </a:r>
            <a:endParaRPr lang="sv-SE" sz="1600" dirty="0">
              <a:solidFill>
                <a:srgbClr val="000000"/>
              </a:solidFill>
              <a:latin typeface="+mj-lt"/>
              <a:cs typeface="Calibri"/>
            </a:endParaRPr>
          </a:p>
          <a:p>
            <a:pPr marL="214313" indent="-214313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sv-SE" sz="1600" dirty="0">
                <a:solidFill>
                  <a:srgbClr val="000000"/>
                </a:solidFill>
                <a:latin typeface="+mj-lt"/>
                <a:cs typeface="Calibri"/>
              </a:rPr>
              <a:t>Livmoderkroppscancer </a:t>
            </a:r>
            <a:r>
              <a:rPr lang="sv-SE" sz="16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/>
              </a:rPr>
              <a:t>(rev)</a:t>
            </a:r>
            <a:endParaRPr lang="sv-SE" sz="1600" dirty="0">
              <a:solidFill>
                <a:srgbClr val="000000"/>
              </a:solidFill>
              <a:latin typeface="+mj-lt"/>
              <a:ea typeface="Calibri" panose="020F0502020204030204" pitchFamily="34" charset="0"/>
            </a:endParaRPr>
          </a:p>
          <a:p>
            <a:pPr defTabSz="685800">
              <a:spcBef>
                <a:spcPts val="750"/>
              </a:spcBef>
              <a:defRPr/>
            </a:pPr>
            <a:r>
              <a:rPr lang="sv-SE" sz="1600" b="1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in vårdplan</a:t>
            </a:r>
          </a:p>
          <a:p>
            <a:pPr defTabSz="685800">
              <a:spcBef>
                <a:spcPts val="750"/>
              </a:spcBef>
              <a:defRPr/>
            </a:pPr>
            <a:r>
              <a:rPr lang="sv-SE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</a:rPr>
              <a:t>Cancer i urinblåsa, njurbäcken, urinledare eller </a:t>
            </a:r>
            <a:r>
              <a:rPr lang="sv-SE" sz="1600" dirty="0" smtClean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</a:rPr>
              <a:t>urinrör</a:t>
            </a:r>
            <a:endParaRPr lang="sv-SE" sz="1600" b="1" dirty="0">
              <a:solidFill>
                <a:srgbClr val="000000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4" name="Platshållare för text 2">
            <a:extLst>
              <a:ext uri="{FF2B5EF4-FFF2-40B4-BE49-F238E27FC236}">
                <a16:creationId xmlns:a16="http://schemas.microsoft.com/office/drawing/2014/main" id="{53D48CA4-1441-C1FF-5DBA-07F7659B2741}"/>
              </a:ext>
            </a:extLst>
          </p:cNvPr>
          <p:cNvSpPr txBox="1">
            <a:spLocks/>
          </p:cNvSpPr>
          <p:nvPr/>
        </p:nvSpPr>
        <p:spPr>
          <a:xfrm>
            <a:off x="4911031" y="817322"/>
            <a:ext cx="4232970" cy="4304969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lnSpc>
                <a:spcPct val="100000"/>
              </a:lnSpc>
              <a:spcBef>
                <a:spcPts val="750"/>
              </a:spcBef>
              <a:defRPr/>
            </a:pPr>
            <a:endParaRPr lang="sv-SE" sz="300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1374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>
                <a:latin typeface="+mj-lt"/>
              </a:rPr>
              <a:t>Designstudio stöd och behandling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 smtClean="0"/>
              <a:t>RSL har beslutat att permanenta verksamhe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 smtClean="0"/>
              <a:t>Ett utkast till uppdragsbeskrivning är på remiss</a:t>
            </a:r>
          </a:p>
        </p:txBody>
      </p:sp>
    </p:spTree>
    <p:extLst>
      <p:ext uri="{BB962C8B-B14F-4D97-AF65-F5344CB8AC3E}">
        <p14:creationId xmlns:p14="http://schemas.microsoft.com/office/powerpoint/2010/main" val="7835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Organiserad </a:t>
            </a:r>
            <a:r>
              <a:rPr lang="sv-SE" dirty="0"/>
              <a:t>prostatatestning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sv-SE" sz="2000" dirty="0" smtClean="0"/>
              <a:t>RSL har beslutat at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 smtClean="0"/>
              <a:t>skapa </a:t>
            </a:r>
            <a:r>
              <a:rPr lang="sv-SE" sz="2000" dirty="0"/>
              <a:t>en gemensam kanslifunktion i Region Jönköpings län för OPT-processen i </a:t>
            </a:r>
            <a:r>
              <a:rPr lang="sv-SE" sz="2000" dirty="0" smtClean="0"/>
              <a:t>sjukvårdsregionen. Uppgifter </a:t>
            </a:r>
            <a:r>
              <a:rPr lang="sv-SE" sz="2000" dirty="0"/>
              <a:t>och arbetssätt för det gemensamma kansliet </a:t>
            </a:r>
            <a:r>
              <a:rPr lang="sv-SE" sz="2000" dirty="0" smtClean="0"/>
              <a:t>utgår </a:t>
            </a:r>
            <a:r>
              <a:rPr lang="sv-SE" sz="2000" dirty="0"/>
              <a:t>från pågående pilotprojekt i Region Jönköpings län som </a:t>
            </a:r>
            <a:r>
              <a:rPr lang="sv-SE" sz="2000" dirty="0" smtClean="0"/>
              <a:t>övergår i förvaltning vid årsskiftet.</a:t>
            </a:r>
            <a:endParaRPr lang="sv-S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 smtClean="0"/>
              <a:t>utreda förutsättningarna för en eventuell utvidgning till fler screeningprogram/hälsovårdstjänster.</a:t>
            </a:r>
          </a:p>
        </p:txBody>
      </p:sp>
      <p:sp>
        <p:nvSpPr>
          <p:cNvPr id="5" name="Rubrik 1"/>
          <p:cNvSpPr txBox="1">
            <a:spLocks/>
          </p:cNvSpPr>
          <p:nvPr/>
        </p:nvSpPr>
        <p:spPr>
          <a:xfrm>
            <a:off x="467544" y="41151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sv-SE" sz="3600" dirty="0"/>
          </a:p>
        </p:txBody>
      </p:sp>
    </p:spTree>
    <p:extLst>
      <p:ext uri="{BB962C8B-B14F-4D97-AF65-F5344CB8AC3E}">
        <p14:creationId xmlns:p14="http://schemas.microsoft.com/office/powerpoint/2010/main" val="301724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Stärkt gemensamt arbete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 smtClean="0"/>
              <a:t>RSL har fastställt målformulering och framgångsfaktorer för de sex samarbetsområden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 smtClean="0"/>
              <a:t>Beslut i SVN 8 december.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263471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A615F8CF-352D-CD61-13B5-A8E990952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3200" dirty="0" smtClean="0"/>
              <a:t>Nätverket </a:t>
            </a:r>
            <a:r>
              <a:rPr lang="sv-SE" sz="3200" dirty="0"/>
              <a:t>Avtal primärvård</a:t>
            </a:r>
          </a:p>
        </p:txBody>
      </p:sp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Informellt </a:t>
            </a:r>
            <a:r>
              <a:rPr lang="sv-SE" sz="2000" dirty="0" smtClean="0"/>
              <a:t>sjukvårdsregionalt nätverk som bildades </a:t>
            </a:r>
            <a:r>
              <a:rPr lang="sv-SE" sz="2000" dirty="0"/>
              <a:t>när vårdvalet i primärvården infördes</a:t>
            </a:r>
            <a:r>
              <a:rPr lang="sv-SE" sz="2000" dirty="0" smtClean="0"/>
              <a:t>.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 smtClean="0"/>
              <a:t>Arbete påbörjas för att förtydliga vilka </a:t>
            </a:r>
            <a:r>
              <a:rPr lang="sv-SE" sz="2000" dirty="0"/>
              <a:t>frågor som RPO primärvård hanterar och vilka frågor nätverket hanterar</a:t>
            </a:r>
            <a:r>
              <a:rPr lang="sv-SE" sz="2000" dirty="0" smtClean="0"/>
              <a:t>.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1466923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/>
              <a:t>Ledning och ledarskap för patientsäkerhe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Program om patientsäkerhet för verksamhetschefer på kliniknivå och deras ledningsstaber startar med 12 </a:t>
            </a:r>
            <a:r>
              <a:rPr lang="sv-SE" sz="2000" dirty="0" smtClean="0"/>
              <a:t>team</a:t>
            </a: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Kursavslut september </a:t>
            </a:r>
            <a:r>
              <a:rPr lang="sv-SE" sz="2000" dirty="0" smtClean="0"/>
              <a:t>2024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4139220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TqNSDi2sVuztAOR1etg"/>
</p:tagLst>
</file>

<file path=ppt/theme/theme1.xml><?xml version="1.0" encoding="utf-8"?>
<a:theme xmlns:a="http://schemas.openxmlformats.org/drawingml/2006/main" name="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89</TotalTime>
  <Words>473</Words>
  <Application>Microsoft Office PowerPoint</Application>
  <PresentationFormat>Bildspel på skärmen (16:9)</PresentationFormat>
  <Paragraphs>66</Paragraphs>
  <Slides>14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19" baseType="lpstr">
      <vt:lpstr>Arial</vt:lpstr>
      <vt:lpstr>Calibri</vt:lpstr>
      <vt:lpstr>Times New Roman</vt:lpstr>
      <vt:lpstr>Office-tema</vt:lpstr>
      <vt:lpstr>think-cell Slide</vt:lpstr>
      <vt:lpstr> Regionsjukvårdsledningen  26 oktober 2023   Sammanfattande information</vt:lpstr>
      <vt:lpstr>Aktuellt från arbetsutskottet</vt:lpstr>
      <vt:lpstr>Nya nationella ledamöter</vt:lpstr>
      <vt:lpstr>Remisser 15 november–14 februari 2024 (preliminärt)</vt:lpstr>
      <vt:lpstr>Designstudio stöd och behandling</vt:lpstr>
      <vt:lpstr>Organiserad prostatatestning</vt:lpstr>
      <vt:lpstr>Stärkt gemensamt arbete</vt:lpstr>
      <vt:lpstr>Nätverket Avtal primärvård</vt:lpstr>
      <vt:lpstr>Ledning och ledarskap för patientsäkerhet</vt:lpstr>
      <vt:lpstr>Nationell högspecialiserad vård</vt:lpstr>
      <vt:lpstr>Aktuellt i kunskapsråden </vt:lpstr>
      <vt:lpstr>Föredrag vid RSL</vt:lpstr>
      <vt:lpstr>Ärenden på SVN 29 september</vt:lpstr>
      <vt:lpstr>Mötesanteckningar och bilagor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Thålin Conny</dc:creator>
  <cp:lastModifiedBy>Yngvesson Strid Susanne</cp:lastModifiedBy>
  <cp:revision>140</cp:revision>
  <dcterms:created xsi:type="dcterms:W3CDTF">2018-10-12T09:18:07Z</dcterms:created>
  <dcterms:modified xsi:type="dcterms:W3CDTF">2023-12-11T14:16:36Z</dcterms:modified>
</cp:coreProperties>
</file>